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5" r:id="rId1"/>
  </p:sldMasterIdLst>
  <p:notesMasterIdLst>
    <p:notesMasterId r:id="rId4"/>
  </p:notesMasterIdLst>
  <p:handoutMasterIdLst>
    <p:handoutMasterId r:id="rId5"/>
  </p:handoutMasterIdLst>
  <p:sldIdLst>
    <p:sldId id="256" r:id="rId2"/>
    <p:sldId id="259" r:id="rId3"/>
  </p:sldIdLst>
  <p:sldSz cx="9906000" cy="6858000" type="A4"/>
  <p:notesSz cx="6858000" cy="9144000"/>
  <p:custDataLst>
    <p:tags r:id="rId6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545">
          <p15:clr>
            <a:srgbClr val="A4A3A4"/>
          </p15:clr>
        </p15:guide>
        <p15:guide id="3" orient="horz" pos="705">
          <p15:clr>
            <a:srgbClr val="A4A3A4"/>
          </p15:clr>
        </p15:guide>
        <p15:guide id="4" orient="horz" pos="3605">
          <p15:clr>
            <a:srgbClr val="A4A3A4"/>
          </p15:clr>
        </p15:guide>
        <p15:guide id="5" pos="3120">
          <p15:clr>
            <a:srgbClr val="A4A3A4"/>
          </p15:clr>
        </p15:guide>
        <p15:guide id="6" pos="138">
          <p15:clr>
            <a:srgbClr val="A4A3A4"/>
          </p15:clr>
        </p15:guide>
        <p15:guide id="7" pos="610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7512" autoAdjust="0"/>
  </p:normalViewPr>
  <p:slideViewPr>
    <p:cSldViewPr snapToGrid="0">
      <p:cViewPr varScale="1">
        <p:scale>
          <a:sx n="82" d="100"/>
          <a:sy n="82" d="100"/>
        </p:scale>
        <p:origin x="782" y="72"/>
      </p:cViewPr>
      <p:guideLst>
        <p:guide orient="horz" pos="2160"/>
        <p:guide orient="horz" pos="545"/>
        <p:guide orient="horz" pos="705"/>
        <p:guide orient="horz" pos="3605"/>
        <p:guide pos="3120"/>
        <p:guide pos="138"/>
        <p:guide pos="610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334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4" name="Rectangle 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6894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78855" name="Rectangle 7"/>
          <p:cNvSpPr>
            <a:spLocks noChangeArrowheads="1"/>
          </p:cNvSpPr>
          <p:nvPr/>
        </p:nvSpPr>
        <p:spPr bwMode="auto">
          <a:xfrm>
            <a:off x="0" y="8685213"/>
            <a:ext cx="46894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endParaRPr lang="de-DE" sz="1200"/>
          </a:p>
          <a:p>
            <a:endParaRPr lang="de-DE" sz="1200"/>
          </a:p>
        </p:txBody>
      </p:sp>
      <p:sp>
        <p:nvSpPr>
          <p:cNvPr id="78856" name="Text Box 8"/>
          <p:cNvSpPr txBox="1">
            <a:spLocks noChangeArrowheads="1"/>
          </p:cNvSpPr>
          <p:nvPr/>
        </p:nvSpPr>
        <p:spPr bwMode="auto">
          <a:xfrm>
            <a:off x="4843463" y="8602663"/>
            <a:ext cx="1866900" cy="512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0" rIns="36000" bIns="0" anchor="b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ct val="30000"/>
              </a:spcAft>
            </a:pPr>
            <a:r>
              <a:rPr lang="de-DE" sz="1200" dirty="0"/>
              <a:t>Seite </a:t>
            </a:r>
            <a:fld id="{80F187CF-93AA-4660-8396-30CEF6EC56D1}" type="slidenum">
              <a:rPr lang="de-DE" sz="1200"/>
              <a:pPr>
                <a:spcAft>
                  <a:spcPct val="30000"/>
                </a:spcAft>
              </a:pPr>
              <a:t>‹Nr.›</a:t>
            </a:fld>
            <a:endParaRPr lang="de-DE" sz="1200" dirty="0"/>
          </a:p>
          <a:p>
            <a:pPr>
              <a:spcAft>
                <a:spcPct val="30000"/>
              </a:spcAft>
            </a:pPr>
            <a:r>
              <a:rPr lang="en-US" sz="800" b="1" dirty="0"/>
              <a:t>© </a:t>
            </a:r>
            <a:r>
              <a:rPr lang="en-US" sz="800" dirty="0"/>
              <a:t>PROTECH Universität Siegen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25675923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6894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809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1525" y="492125"/>
            <a:ext cx="5313363" cy="38020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09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34988" y="4587875"/>
            <a:ext cx="5789612" cy="3802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09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46894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/>
          </a:p>
          <a:p>
            <a:endParaRPr lang="de-DE"/>
          </a:p>
        </p:txBody>
      </p:sp>
      <p:sp>
        <p:nvSpPr>
          <p:cNvPr id="80904" name="Text Box 8"/>
          <p:cNvSpPr txBox="1">
            <a:spLocks noChangeArrowheads="1"/>
          </p:cNvSpPr>
          <p:nvPr/>
        </p:nvSpPr>
        <p:spPr bwMode="auto">
          <a:xfrm>
            <a:off x="4843463" y="8602663"/>
            <a:ext cx="1866900" cy="512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0" rIns="36000" bIns="0" anchor="b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ct val="30000"/>
              </a:spcAft>
            </a:pPr>
            <a:r>
              <a:rPr lang="de-DE" sz="1200" dirty="0"/>
              <a:t>Seite </a:t>
            </a:r>
            <a:fld id="{113C24E6-C18F-43F2-99B7-05DD00173290}" type="slidenum">
              <a:rPr lang="de-DE" sz="1200"/>
              <a:pPr>
                <a:spcAft>
                  <a:spcPct val="30000"/>
                </a:spcAft>
              </a:pPr>
              <a:t>‹Nr.›</a:t>
            </a:fld>
            <a:endParaRPr lang="de-DE" sz="1200" dirty="0"/>
          </a:p>
          <a:p>
            <a:pPr>
              <a:spcAft>
                <a:spcPct val="30000"/>
              </a:spcAft>
            </a:pPr>
            <a:r>
              <a:rPr lang="en-US" sz="800" b="1" dirty="0"/>
              <a:t>© </a:t>
            </a:r>
            <a:r>
              <a:rPr lang="en-US" sz="800" dirty="0"/>
              <a:t>PROTECH Universität Siegen</a:t>
            </a:r>
            <a:endParaRPr lang="de-DE" sz="800" dirty="0"/>
          </a:p>
        </p:txBody>
      </p:sp>
      <p:sp>
        <p:nvSpPr>
          <p:cNvPr id="80908" name="Text Box 12"/>
          <p:cNvSpPr txBox="1">
            <a:spLocks noChangeArrowheads="1"/>
          </p:cNvSpPr>
          <p:nvPr/>
        </p:nvSpPr>
        <p:spPr bwMode="auto">
          <a:xfrm>
            <a:off x="534988" y="4332288"/>
            <a:ext cx="12509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de-DE" sz="1400" b="1"/>
              <a:t>Anmerkungen:</a:t>
            </a:r>
          </a:p>
        </p:txBody>
      </p:sp>
    </p:spTree>
    <p:extLst>
      <p:ext uri="{BB962C8B-B14F-4D97-AF65-F5344CB8AC3E}">
        <p14:creationId xmlns:p14="http://schemas.microsoft.com/office/powerpoint/2010/main" val="190704349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268288" indent="-88900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536575" indent="-88900" algn="l" rtl="0" fontAlgn="base">
      <a:spcBef>
        <a:spcPct val="30000"/>
      </a:spcBef>
      <a:spcAft>
        <a:spcPct val="0"/>
      </a:spcAft>
      <a:buChar char="-"/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809625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076325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2625" y="492125"/>
            <a:ext cx="5491163" cy="3802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88214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2625" y="492125"/>
            <a:ext cx="5491163" cy="3802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15634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71850" y="866592"/>
            <a:ext cx="6311900" cy="1400175"/>
          </a:xfrm>
        </p:spPr>
        <p:txBody>
          <a:bodyPr rIns="468000" bIns="72000"/>
          <a:lstStyle>
            <a:lvl1pPr>
              <a:defRPr sz="2600"/>
            </a:lvl1pPr>
          </a:lstStyle>
          <a:p>
            <a:pPr lvl="0"/>
            <a:r>
              <a:rPr lang="de-DE" noProof="0"/>
              <a:t>Mastertitelformat bearbeiten</a:t>
            </a:r>
          </a:p>
        </p:txBody>
      </p:sp>
      <p:sp>
        <p:nvSpPr>
          <p:cNvPr id="849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71850" y="2393767"/>
            <a:ext cx="6311900" cy="332758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342000" bIns="45720"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/>
              <a:t>Master-Untertitelformat bearbeiten</a:t>
            </a:r>
          </a:p>
        </p:txBody>
      </p:sp>
      <p:sp>
        <p:nvSpPr>
          <p:cNvPr id="84996" name="Line 4"/>
          <p:cNvSpPr>
            <a:spLocks noChangeShapeType="1"/>
          </p:cNvSpPr>
          <p:nvPr/>
        </p:nvSpPr>
        <p:spPr bwMode="auto">
          <a:xfrm>
            <a:off x="3371850" y="2325504"/>
            <a:ext cx="6311900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3" name="Line 11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9" name="Line 17"/>
          <p:cNvSpPr>
            <a:spLocks noChangeShapeType="1"/>
          </p:cNvSpPr>
          <p:nvPr/>
        </p:nvSpPr>
        <p:spPr bwMode="auto">
          <a:xfrm flipH="1">
            <a:off x="217488" y="5930900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4F48EFF-0181-496A-967A-C23561032B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5025" y="6030000"/>
            <a:ext cx="1677567" cy="58896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49EC3F5-9328-4AAA-990F-4C090D21A4D5}"/>
              </a:ext>
            </a:extLst>
          </p:cNvPr>
          <p:cNvSpPr txBox="1"/>
          <p:nvPr userDrawn="1"/>
        </p:nvSpPr>
        <p:spPr>
          <a:xfrm>
            <a:off x="217488" y="5991225"/>
            <a:ext cx="1624614" cy="31591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0" i="0" u="none" kern="1200" spc="0" dirty="0"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© Protech Universität Siegen</a:t>
            </a:r>
            <a:endParaRPr lang="en-US" sz="1000" b="0" i="0" u="none" kern="1200" spc="0" dirty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788608F-663B-401A-A06B-40FC60A653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3054" y="6030000"/>
            <a:ext cx="2069331" cy="58896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2952107D-EAAC-46E1-8197-F68CFCBEFBD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488" y="863600"/>
            <a:ext cx="3155950" cy="4857750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75936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2D249C49-63D8-4C0D-A919-AB1EDD44082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488" y="863600"/>
            <a:ext cx="9467850" cy="2428875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67892135-1BF3-4F82-9B6B-FA346C1F0479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17488" y="3292475"/>
            <a:ext cx="9467850" cy="2428875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28452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74B8DE2-FB1C-49BC-B908-E3C7A803B276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17488" y="863600"/>
            <a:ext cx="4733925" cy="4857750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DB551143-AC5D-4D41-9929-5AAA8FA578B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1413" y="863600"/>
            <a:ext cx="4733925" cy="4857750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36930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orizontal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BBD925CD-3AE8-4BA5-8B6E-A0D1A18D7D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488" y="3292475"/>
            <a:ext cx="4733925" cy="2428875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5D533C6C-013F-4536-99AD-BC90A82B1F6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951413" y="3292475"/>
            <a:ext cx="4733925" cy="2428875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05516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2BD372C7-1BA2-449C-93A5-931294202C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488" y="1116013"/>
            <a:ext cx="9467850" cy="4605338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7BC792-D70A-46A5-80F4-41C2BCE42D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900" y="801688"/>
            <a:ext cx="9467850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800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D3EA1AD-16A2-4971-BF60-604A8AE889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900" y="5757863"/>
            <a:ext cx="9467850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451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age righ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51BB67CC-C1C3-47C7-AA93-A924CBE454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73438" y="1116013"/>
            <a:ext cx="6311900" cy="4605338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F46F4E-F450-49C1-8833-7E76F17B2C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900" y="801688"/>
            <a:ext cx="9467850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800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24D8CB5-E0DE-4AAB-9786-F309AABB4A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900" y="5757863"/>
            <a:ext cx="9467850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77681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age righ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17C664FF-6BB9-422B-BF30-C9EBDC8FE0D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9389" y="1116013"/>
            <a:ext cx="3155950" cy="4605338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C687CF-85E0-4FE6-ABB8-B901335A326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900" y="801688"/>
            <a:ext cx="9467850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800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32846159-45D4-4A49-BC71-CA93D156A4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900" y="5757863"/>
            <a:ext cx="9467850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54621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age lef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18112094-FC3E-4C3C-A5B9-8D640688009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5900" y="1116013"/>
            <a:ext cx="6311900" cy="4605338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88D480-6A3B-4C19-881D-260FD36060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900" y="801688"/>
            <a:ext cx="9467850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800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3168B09D-076C-4FCA-8689-D5DB21CFA3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900" y="5757863"/>
            <a:ext cx="9467850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25594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age lef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3416E477-9272-46A7-AFF6-063BE72B8C3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5900" y="1116013"/>
            <a:ext cx="3155950" cy="4605338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9F59B1-733C-4613-B956-8B82E69ACB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900" y="801688"/>
            <a:ext cx="9467850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800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9FE49E52-168B-4C0E-BA9E-3131238873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900" y="5757863"/>
            <a:ext cx="9467850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05327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vertical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13B62F76-3877-4E62-97DA-8BD44D0C652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5900" y="1116013"/>
            <a:ext cx="9467850" cy="2303463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93B5BD52-9165-43BB-8BC1-8CC2AD31526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15900" y="3419475"/>
            <a:ext cx="9467850" cy="2303463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E716D74-8498-4A4A-8EC2-8310014766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5900" y="801688"/>
            <a:ext cx="9467850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800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AF810CA-667A-4EEA-B93E-324C7894B4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900" y="5757863"/>
            <a:ext cx="9467850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8127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71850" y="863600"/>
            <a:ext cx="6311900" cy="4857750"/>
          </a:xfrm>
          <a:prstGeom prst="rect">
            <a:avLst/>
          </a:prstGeom>
        </p:spPr>
        <p:txBody>
          <a:bodyPr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94849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orizontal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76F7881D-D445-4B0F-A123-8ED1AA32002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15900" y="1116013"/>
            <a:ext cx="4733925" cy="4605338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F2169E0B-61C3-4463-AE88-5AD37DBC8D8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49825" y="1116013"/>
            <a:ext cx="4733925" cy="4605338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0D84201-251F-4722-A06C-F8939D3B4F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5900" y="801688"/>
            <a:ext cx="9467850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800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81988C-F5DD-4A23-91CB-90374FE1AD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900" y="5757863"/>
            <a:ext cx="9467850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24783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orizontal bottom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46111FD3-A2CF-4891-95A5-10074D5815EA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15900" y="3419475"/>
            <a:ext cx="4733925" cy="2303463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873A96B8-7DEC-453A-B096-D1AE094CD52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49825" y="3419475"/>
            <a:ext cx="4733925" cy="2303463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CA63D5F-6006-4C4E-A61B-1808EC0A45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5900" y="801688"/>
            <a:ext cx="9467850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800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368A3D5-2F71-449C-B18C-D8CEE3EC79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900" y="5757863"/>
            <a:ext cx="9467850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28428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71850" y="863600"/>
            <a:ext cx="3079750" cy="4857750"/>
          </a:xfrm>
          <a:prstGeom prst="rect">
            <a:avLst/>
          </a:prstGeo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604000" y="863600"/>
            <a:ext cx="3079750" cy="4857750"/>
          </a:xfrm>
          <a:prstGeom prst="rect">
            <a:avLst/>
          </a:prstGeo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915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1080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490225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6518390E-CE4D-4989-8565-F69BB1957E2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488" y="863600"/>
            <a:ext cx="9467850" cy="4857750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93028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F8850B1F-110D-4C2E-A4C1-75D55D04667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73438" y="863600"/>
            <a:ext cx="6311900" cy="4857750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49021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C8C8B2CB-DE58-4F1A-A814-4BF421DD2EE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9389" y="863600"/>
            <a:ext cx="3155950" cy="4857750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48051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BEE7BCAF-2A55-4CBE-8F40-7A023A4AE2B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488" y="863600"/>
            <a:ext cx="6311900" cy="4857750"/>
          </a:xfrm>
          <a:prstGeom prst="rect">
            <a:avLst/>
          </a:prstGeom>
        </p:spPr>
        <p:txBody>
          <a:bodyPr lIns="0" tIns="0" rIns="180000" bIns="0"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93837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28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D995C6D-F25B-4D7F-9337-00263F793C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469573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25" imgW="360" imgH="360" progId="TCLayout.ActiveDocument.1">
                  <p:embed/>
                </p:oleObj>
              </mc:Choice>
              <mc:Fallback>
                <p:oleObj name="think-cell Folie" r:id="rId2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83981" name="Line 13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3983" name="Line 15"/>
          <p:cNvSpPr>
            <a:spLocks noChangeShapeType="1"/>
          </p:cNvSpPr>
          <p:nvPr/>
        </p:nvSpPr>
        <p:spPr bwMode="auto">
          <a:xfrm flipH="1">
            <a:off x="215900" y="5930900"/>
            <a:ext cx="9464675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4089" name="Text Box 121"/>
          <p:cNvSpPr txBox="1">
            <a:spLocks noChangeArrowheads="1"/>
          </p:cNvSpPr>
          <p:nvPr/>
        </p:nvSpPr>
        <p:spPr bwMode="auto">
          <a:xfrm>
            <a:off x="8361363" y="5991225"/>
            <a:ext cx="1322387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Aft>
                <a:spcPct val="30000"/>
              </a:spcAft>
            </a:pPr>
            <a:r>
              <a:rPr lang="de-DE" sz="1000"/>
              <a:t>Seite </a:t>
            </a:r>
            <a:fld id="{00C3FF0A-3B1C-460E-B60F-EC504E0555AB}" type="slidenum">
              <a:rPr lang="de-DE" sz="1000"/>
              <a:pPr algn="r">
                <a:spcAft>
                  <a:spcPct val="30000"/>
                </a:spcAft>
              </a:pPr>
              <a:t>‹Nr.›</a:t>
            </a:fld>
            <a:endParaRPr lang="de-DE" sz="10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A45270B-208F-47BC-8B8A-90BE19D71ABF}"/>
              </a:ext>
            </a:extLst>
          </p:cNvPr>
          <p:cNvSpPr txBox="1"/>
          <p:nvPr userDrawn="1"/>
        </p:nvSpPr>
        <p:spPr>
          <a:xfrm>
            <a:off x="217488" y="5991225"/>
            <a:ext cx="1624614" cy="31591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0" i="0" u="none" kern="1200" spc="0" dirty="0"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© Protech Universität Siegen</a:t>
            </a:r>
            <a:endParaRPr lang="en-US" sz="1000" b="0" i="0" u="none" kern="1200" spc="0" dirty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CD96EC8-F3FA-4717-AF5A-083F6C591B26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5025" y="6030000"/>
            <a:ext cx="1677567" cy="58896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E675926-7136-450E-8074-AF682297AF52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3054" y="6030000"/>
            <a:ext cx="2069331" cy="588963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558F35-F6A7-4594-BF4E-6ACC1256F1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71850" y="863600"/>
            <a:ext cx="6311900" cy="49768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  <p:sldLayoutId id="2147483672" r:id="rId16"/>
    <p:sldLayoutId id="2147483673" r:id="rId17"/>
    <p:sldLayoutId id="2147483674" r:id="rId18"/>
    <p:sldLayoutId id="2147483675" r:id="rId19"/>
    <p:sldLayoutId id="2147483676" r:id="rId20"/>
    <p:sldLayoutId id="2147483677" r:id="rId21"/>
  </p:sldLayoutIdLst>
  <p:txStyles>
    <p:titleStyle>
      <a:lvl1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28600" indent="-228600" algn="l" rtl="0" eaLnBrk="1" fontAlgn="base" hangingPunct="1">
        <a:spcBef>
          <a:spcPct val="30000"/>
        </a:spcBef>
        <a:spcAft>
          <a:spcPct val="20000"/>
        </a:spcAft>
        <a:buClr>
          <a:schemeClr val="accent2"/>
        </a:buClr>
        <a:buSzPct val="90000"/>
        <a:buFont typeface="Wingdings" pitchFamily="2" charset="2"/>
        <a:buChar char="n"/>
        <a:tabLst>
          <a:tab pos="266700" algn="l"/>
          <a:tab pos="631825" algn="l"/>
          <a:tab pos="981075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Arial" charset="0"/>
        <a:buChar char="–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2pPr>
      <a:lvl3pPr marL="6858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3pPr>
      <a:lvl4pPr marL="9144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4pPr>
      <a:lvl5pPr marL="11430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5pPr>
      <a:lvl6pPr marL="22510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6pPr>
      <a:lvl7pPr marL="27082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7pPr>
      <a:lvl8pPr marL="31654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8pPr>
      <a:lvl9pPr marL="36226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www.maischemalzundmehr.de/" TargetMode="Externa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AC20449-337A-4137-A2BE-229682D035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3151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AF9E5AE3-A7DE-4E8B-88E0-0BA1AA5E5D3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Gruppenaufgabe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BDDB83E6-AC3C-486B-8D43-EE64183A98B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Rezeptgenerator als Assistenztool für einen Braumeister</a:t>
            </a:r>
          </a:p>
        </p:txBody>
      </p:sp>
    </p:spTree>
    <p:extLst>
      <p:ext uri="{BB962C8B-B14F-4D97-AF65-F5344CB8AC3E}">
        <p14:creationId xmlns:p14="http://schemas.microsoft.com/office/powerpoint/2010/main" val="15786866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57384FC-BDC4-43A3-9221-A7FEA0E69F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2832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B563D6-3FB0-4079-8A92-04F03CA1BD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ufgabenstellung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A817CE-3723-4572-A510-6F2B66537C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rogrammiert einen Generator für Rezepte zum Bierbrauen</a:t>
            </a:r>
          </a:p>
          <a:p>
            <a:r>
              <a:rPr lang="de-DE" dirty="0"/>
              <a:t>Der Generator soll basierend auf den Eingaben eines Braumeisters, ein passendes Rezept vorschlagen.</a:t>
            </a:r>
          </a:p>
          <a:p>
            <a:r>
              <a:rPr lang="de-DE" dirty="0"/>
              <a:t>Die Eingaben sind bspw. </a:t>
            </a:r>
            <a:r>
              <a:rPr lang="de-DE" dirty="0" err="1"/>
              <a:t>Biertyp</a:t>
            </a:r>
            <a:r>
              <a:rPr lang="de-DE" dirty="0"/>
              <a:t>, Alkoholgehalt, Farbe, Bitterkeit, Aromatik, Spritzigkeit</a:t>
            </a:r>
          </a:p>
          <a:p>
            <a:r>
              <a:rPr lang="de-DE" dirty="0"/>
              <a:t>Das Rezept soll als Ausgabe die notwendigen Zutaten inkl. Mengen und </a:t>
            </a:r>
            <a:r>
              <a:rPr lang="de-DE" dirty="0" err="1"/>
              <a:t>Zugabezeitpunke</a:t>
            </a:r>
            <a:r>
              <a:rPr lang="de-DE" dirty="0"/>
              <a:t>, die Maisch- und Kochzeiten sowie Temperaturführung enthalten.</a:t>
            </a:r>
          </a:p>
          <a:p>
            <a:r>
              <a:rPr lang="de-DE" dirty="0"/>
              <a:t>Als Kern des Generators ist eine KI (konkret: </a:t>
            </a:r>
            <a:r>
              <a:rPr lang="de-DE" dirty="0" err="1"/>
              <a:t>Machine</a:t>
            </a:r>
            <a:r>
              <a:rPr lang="de-DE" dirty="0"/>
              <a:t> Learning) einzusetzen. Das Lernparadigma </a:t>
            </a:r>
            <a:r>
              <a:rPr lang="de-DE"/>
              <a:t>des ML-Modells ist </a:t>
            </a:r>
            <a:r>
              <a:rPr lang="de-DE" dirty="0"/>
              <a:t>frei wählbar.</a:t>
            </a:r>
          </a:p>
          <a:p>
            <a:r>
              <a:rPr lang="de-DE" dirty="0"/>
              <a:t>Als Basis können dazu bspw. bestehende Rezepte aus Rezeptdatenbanken verwendet werden (bspw. </a:t>
            </a:r>
            <a:r>
              <a:rPr lang="de-DE" dirty="0">
                <a:hlinkClick r:id="rId7"/>
              </a:rPr>
              <a:t>https://www.maischemalzundmehr.de/</a:t>
            </a:r>
            <a:r>
              <a:rPr lang="de-DE" dirty="0"/>
              <a:t>).</a:t>
            </a:r>
          </a:p>
        </p:txBody>
      </p:sp>
    </p:spTree>
    <p:extLst>
      <p:ext uri="{BB962C8B-B14F-4D97-AF65-F5344CB8AC3E}">
        <p14:creationId xmlns:p14="http://schemas.microsoft.com/office/powerpoint/2010/main" val="9670580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69e6279-5c7f-4421-9dba-a6888cfc097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niversität Siegen">
  <a:themeElements>
    <a:clrScheme name="WZL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7DDF2"/>
      </a:accent1>
      <a:accent2>
        <a:srgbClr val="00549F"/>
      </a:accent2>
      <a:accent3>
        <a:srgbClr val="8EBAE5"/>
      </a:accent3>
      <a:accent4>
        <a:srgbClr val="407FB7"/>
      </a:accent4>
      <a:accent5>
        <a:srgbClr val="CC071E"/>
      </a:accent5>
      <a:accent6>
        <a:srgbClr val="F6A800"/>
      </a:accent6>
      <a:hlink>
        <a:srgbClr val="8EBAE5"/>
      </a:hlink>
      <a:folHlink>
        <a:srgbClr val="407FB7"/>
      </a:folHlink>
    </a:clrScheme>
    <a:fontScheme name="WZ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079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1079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WZL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7DDF2"/>
        </a:accent1>
        <a:accent2>
          <a:srgbClr val="00549F"/>
        </a:accent2>
        <a:accent3>
          <a:srgbClr val="8EBAE5"/>
        </a:accent3>
        <a:accent4>
          <a:srgbClr val="407FB7"/>
        </a:accent4>
        <a:accent5>
          <a:srgbClr val="CC071E"/>
        </a:accent5>
        <a:accent6>
          <a:srgbClr val="F6A800"/>
        </a:accent6>
        <a:hlink>
          <a:srgbClr val="8EBAE5"/>
        </a:hlink>
        <a:folHlink>
          <a:srgbClr val="407F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Uni_Siegen.pptx" id="{2DFC1E86-BC84-43B8-A307-89DA4E65E6F1}" vid="{1CABC921-3B85-437D-B974-5947635B108F}"/>
    </a:ext>
  </a:ext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1C1FF"/>
      </a:accent1>
      <a:accent2>
        <a:srgbClr val="0000FF"/>
      </a:accent2>
      <a:accent3>
        <a:srgbClr val="FFFFFF"/>
      </a:accent3>
      <a:accent4>
        <a:srgbClr val="000000"/>
      </a:accent4>
      <a:accent5>
        <a:srgbClr val="DDDDFF"/>
      </a:accent5>
      <a:accent6>
        <a:srgbClr val="0000E7"/>
      </a:accent6>
      <a:hlink>
        <a:srgbClr val="9B9BFF"/>
      </a:hlink>
      <a:folHlink>
        <a:srgbClr val="6969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1C1FF"/>
      </a:accent1>
      <a:accent2>
        <a:srgbClr val="0000FF"/>
      </a:accent2>
      <a:accent3>
        <a:srgbClr val="FFFFFF"/>
      </a:accent3>
      <a:accent4>
        <a:srgbClr val="000000"/>
      </a:accent4>
      <a:accent5>
        <a:srgbClr val="DDDDFF"/>
      </a:accent5>
      <a:accent6>
        <a:srgbClr val="0000E7"/>
      </a:accent6>
      <a:hlink>
        <a:srgbClr val="9B9BFF"/>
      </a:hlink>
      <a:folHlink>
        <a:srgbClr val="6969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4</Words>
  <Application>Microsoft Office PowerPoint</Application>
  <PresentationFormat>A4-Papier (210 x 297 mm)</PresentationFormat>
  <Paragraphs>9</Paragraphs>
  <Slides>2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6" baseType="lpstr">
      <vt:lpstr>Arial</vt:lpstr>
      <vt:lpstr>Wingdings</vt:lpstr>
      <vt:lpstr>Universität Siegen</vt:lpstr>
      <vt:lpstr>think-cell Folie</vt:lpstr>
      <vt:lpstr>Gruppenaufgabe</vt:lpstr>
      <vt:lpstr>Aufgabenstellung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ppenaufgabe</dc:title>
  <dc:subject/>
  <dc:creator>Fabian Steinberg</dc:creator>
  <cp:keywords/>
  <dc:description/>
  <cp:lastModifiedBy>Fabian Steinberg</cp:lastModifiedBy>
  <cp:revision>1</cp:revision>
  <dcterms:created xsi:type="dcterms:W3CDTF">2020-09-18T07:36:35Z</dcterms:created>
  <dcterms:modified xsi:type="dcterms:W3CDTF">2020-09-18T10:11:09Z</dcterms:modified>
  <cp:category/>
</cp:coreProperties>
</file>